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85" r:id="rId2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rray, Rebecca" initials="MR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>
        <p:scale>
          <a:sx n="80" d="100"/>
          <a:sy n="80" d="100"/>
        </p:scale>
        <p:origin x="-342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3D8BB0-E070-4D2A-9F9D-1C53DA69C4D4}" type="datetimeFigureOut">
              <a:rPr lang="en-GB" smtClean="0"/>
              <a:t>25/04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AD0835-4D8F-4D74-A197-6B3667596B2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6573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4976E-3E97-4431-AA0E-54184CC7CD2B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3202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 preferRelativeResize="0"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1141" y="947520"/>
            <a:ext cx="2314409" cy="15934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674177"/>
            <a:ext cx="2934117" cy="52013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444058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7927258" y="6444058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9151373" y="6444058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1621915" y="6444058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44022" y="3704884"/>
            <a:ext cx="10861521" cy="774216"/>
          </a:xfrm>
        </p:spPr>
        <p:txBody>
          <a:bodyPr lIns="0" rIns="0" anchor="b">
            <a:noAutofit/>
          </a:bodyPr>
          <a:lstStyle>
            <a:lvl1pPr algn="l">
              <a:lnSpc>
                <a:spcPct val="100000"/>
              </a:lnSpc>
              <a:defRPr sz="3000" spc="-2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577048"/>
            <a:ext cx="6315584" cy="325152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53002"/>
            <a:ext cx="6315584" cy="29845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314946"/>
            <a:ext cx="6315584" cy="292107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97203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"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9" y="204844"/>
            <a:ext cx="11474247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1" y="664025"/>
            <a:ext cx="11481367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6762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11474248" cy="101272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7" y="1977243"/>
            <a:ext cx="1147808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11481368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6158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11474248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11481368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1368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2" y="204844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5" y="1032010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5" y="1032010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2" y="1032010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5" y="1032010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66852" y="1434936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2578925" y="1434936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4791004" y="1433888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7003067" y="1434936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9215145" y="1434936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1004" y="1032010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8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0743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2" y="204844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10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6" y="1032010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10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10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10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8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667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6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6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82" y="204844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226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8" y="1845870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519" y="1845870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51" y="1845870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82" y="204844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9" y="2659261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1" y="2659261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659261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353132" y="857365"/>
            <a:ext cx="9265003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865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2" y="204844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15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5"/>
            <a:ext cx="9265003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56418" y="1920549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56418" y="3181472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356418" y="4466747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4090141" y="1857049"/>
            <a:ext cx="7255468" cy="862965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8"/>
          </p:nvPr>
        </p:nvSpPr>
        <p:spPr>
          <a:xfrm>
            <a:off x="4090141" y="3125663"/>
            <a:ext cx="7255468" cy="879612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9"/>
          </p:nvPr>
        </p:nvSpPr>
        <p:spPr>
          <a:xfrm>
            <a:off x="4090141" y="4403210"/>
            <a:ext cx="7255468" cy="1045091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13610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58882" y="206478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9265003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1232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348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74"/>
            <a:ext cx="11247907" cy="603863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6" y="3385518"/>
            <a:ext cx="1125185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4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7927258" y="4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151373" y="4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621915" y="4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6330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3E704-F213-432D-BB6E-F1DED02B8CA0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2647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82" y="204844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4" y="186902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4500"/>
              </a:lnSpc>
              <a:defRPr sz="2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5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7117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880">
          <p15:clr>
            <a:srgbClr val="FBAE40"/>
          </p15:clr>
        </p15:guide>
        <p15:guide id="2" pos="45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324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3048815"/>
            <a:ext cx="11474248" cy="760372"/>
          </a:xfrm>
        </p:spPr>
        <p:txBody>
          <a:bodyPr anchor="ctr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5528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2747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4236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335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7" y="1696288"/>
            <a:ext cx="11476707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9" y="204844"/>
            <a:ext cx="1147424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5"/>
            <a:ext cx="11479992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979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7" y="1696288"/>
            <a:ext cx="11476707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9" y="204844"/>
            <a:ext cx="1147424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5"/>
            <a:ext cx="11479992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800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r>
              <a:rPr lang="en-US" smtClean="0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6426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think-cell Slide" r:id="rId24" imgW="471" imgH="472" progId="TCLayout.ActiveDocument.1">
                  <p:embed/>
                </p:oleObj>
              </mc:Choice>
              <mc:Fallback>
                <p:oleObj name="think-cell Slide" r:id="rId24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31"/>
            <a:ext cx="11474248" cy="76037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25" y="1854339"/>
            <a:ext cx="11476705" cy="4281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5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68580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353888" y="6459799"/>
            <a:ext cx="1314047" cy="232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800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1" i="0" kern="1200" spc="-20" baseline="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685800" rtl="0" eaLnBrk="1" latinLnBrk="0" hangingPunct="1">
        <a:lnSpc>
          <a:spcPct val="140000"/>
        </a:lnSpc>
        <a:spcBef>
          <a:spcPts val="750"/>
        </a:spcBef>
        <a:buFont typeface="Arial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130969" indent="-126206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302419" indent="-17145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28625" indent="-132160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560785" indent="-17026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381" y="55935"/>
            <a:ext cx="1059974" cy="1001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3" name="Picture 1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3386" y="16071"/>
            <a:ext cx="2090737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0673" y="191937"/>
            <a:ext cx="8012054" cy="569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ts val="2400"/>
              </a:lnSpc>
              <a:defRPr/>
            </a:pPr>
            <a:r>
              <a:rPr lang="en-US" sz="2800" b="1" dirty="0">
                <a:latin typeface="+mj-lt"/>
                <a:ea typeface="ＭＳ Ｐゴシック" pitchFamily="34" charset="-128"/>
                <a:cs typeface="+mj-cs"/>
              </a:rPr>
              <a:t>Women in Finance Charter - </a:t>
            </a:r>
            <a:r>
              <a:rPr lang="en-US" sz="2800" b="1" dirty="0" smtClean="0">
                <a:latin typeface="+mj-lt"/>
                <a:ea typeface="ＭＳ Ｐゴシック" pitchFamily="34" charset="-128"/>
                <a:cs typeface="+mj-cs"/>
              </a:rPr>
              <a:t>2017</a:t>
            </a:r>
            <a:endParaRPr lang="en-US" sz="2800" b="1" kern="0" dirty="0">
              <a:latin typeface="+mj-lt"/>
              <a:ea typeface="ＭＳ Ｐゴシック" charset="-128"/>
              <a:cs typeface="+mj-cs"/>
            </a:endParaRPr>
          </a:p>
        </p:txBody>
      </p:sp>
      <p:sp>
        <p:nvSpPr>
          <p:cNvPr id="2" name="TextBox 1"/>
          <p:cNvSpPr txBox="1"/>
          <p:nvPr/>
        </p:nvSpPr>
        <p:spPr>
          <a:xfrm rot="16200000">
            <a:off x="-767317" y="3391075"/>
            <a:ext cx="5035947" cy="369332"/>
          </a:xfrm>
          <a:prstGeom prst="rect">
            <a:avLst/>
          </a:prstGeom>
          <a:noFill/>
          <a:scene3d>
            <a:camera prst="orthographicFront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>
              <a:defRPr/>
            </a:pPr>
            <a:r>
              <a:rPr lang="en-GB" dirty="0"/>
              <a:t>DEVELOP           </a:t>
            </a:r>
            <a:r>
              <a:rPr lang="en-GB" dirty="0" smtClean="0"/>
              <a:t>   ENGAGE                </a:t>
            </a:r>
            <a:r>
              <a:rPr lang="en-GB" dirty="0"/>
              <a:t>HIRE</a:t>
            </a: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2233596" y="808921"/>
            <a:ext cx="1400175" cy="177909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t">
            <a:noAutofit/>
          </a:bodyPr>
          <a:lstStyle/>
          <a:p>
            <a:pPr algn="ctr"/>
            <a:r>
              <a:rPr lang="en-GB" sz="800" b="1" u="sng" dirty="0" smtClean="0"/>
              <a:t>2017 Targ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dirty="0" smtClean="0"/>
              <a:t>Female representation for every role advertis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dirty="0" smtClean="0"/>
              <a:t>100% unbiased resourcing practices including equal opportunities, gender mixed agencies, mix of female and male assessors, and recruitment training for hiring managers</a:t>
            </a:r>
          </a:p>
          <a:p>
            <a:endParaRPr lang="en-GB" sz="800" dirty="0"/>
          </a:p>
          <a:p>
            <a:endParaRPr lang="en-GB" sz="800" dirty="0">
              <a:solidFill>
                <a:srgbClr val="FF0000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769" y="808235"/>
            <a:ext cx="3356354" cy="1779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>
            <a:spLocks/>
          </p:cNvSpPr>
          <p:nvPr/>
        </p:nvSpPr>
        <p:spPr>
          <a:xfrm>
            <a:off x="2233595" y="2725259"/>
            <a:ext cx="1400175" cy="176770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en-GB" sz="800" b="1" u="sng" dirty="0" smtClean="0"/>
              <a:t>2017 Targ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dirty="0" smtClean="0"/>
              <a:t>Target of 50/50 split of male and female employees within the UK Branch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800" dirty="0" smtClean="0"/>
              <a:t>Target of 40% female leaders and GG13 and above within the UK Bran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800" dirty="0" smtClean="0"/>
          </a:p>
          <a:p>
            <a:endParaRPr lang="en-GB" sz="800" dirty="0"/>
          </a:p>
          <a:p>
            <a:endParaRPr lang="en-GB" sz="800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2233596" y="4567319"/>
            <a:ext cx="1400175" cy="176770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en-GB" sz="800" b="1" u="sng" dirty="0" smtClean="0"/>
              <a:t>2017 Targe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800" dirty="0" smtClean="0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arget</a:t>
            </a:r>
            <a:r>
              <a:rPr lang="en-GB" sz="800" dirty="0" smtClean="0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lang="en-GB" sz="800" dirty="0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50% women in Exec-1 Enterprise Talent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arget of 50/50 split of male/female attendance at developmental events and training</a:t>
            </a:r>
          </a:p>
          <a:p>
            <a:endParaRPr lang="en-GB" sz="800" dirty="0" smtClean="0"/>
          </a:p>
          <a:p>
            <a:endParaRPr lang="en-GB" sz="800" dirty="0"/>
          </a:p>
          <a:p>
            <a:endParaRPr lang="en-GB" sz="800" dirty="0">
              <a:solidFill>
                <a:srgbClr val="FF0000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4840" y="808921"/>
            <a:ext cx="3330059" cy="1779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4839" y="2725259"/>
            <a:ext cx="3330061" cy="1767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769" y="2725259"/>
            <a:ext cx="3357324" cy="1767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4839" y="4578103"/>
            <a:ext cx="3330059" cy="1756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769" y="4578103"/>
            <a:ext cx="3357324" cy="1756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73732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Theme">
  <a:themeElements>
    <a:clrScheme name="MetLife v2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MetLife v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6</TotalTime>
  <Words>96</Words>
  <Application>Microsoft Office PowerPoint</Application>
  <PresentationFormat>Custom</PresentationFormat>
  <Paragraphs>14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1_Default Theme</vt:lpstr>
      <vt:lpstr>think-cell Slide</vt:lpstr>
      <vt:lpstr>PowerPoint Presentation</vt:lpstr>
    </vt:vector>
  </TitlesOfParts>
  <Company>Meteurop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K Executive Committee</dc:title>
  <dc:creator>Murray, Rebecca</dc:creator>
  <cp:lastModifiedBy>Horton, Laura</cp:lastModifiedBy>
  <cp:revision>61</cp:revision>
  <cp:lastPrinted>2017-05-31T14:45:42Z</cp:lastPrinted>
  <dcterms:created xsi:type="dcterms:W3CDTF">2017-05-04T11:43:40Z</dcterms:created>
  <dcterms:modified xsi:type="dcterms:W3CDTF">2018-04-25T14:39:59Z</dcterms:modified>
</cp:coreProperties>
</file>